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jpeg" ContentType="image/jpeg"/>
  <Default Extension="JPG" ContentType="image/.jp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fonts/font7.fntdata" ContentType="application/x-fontdata"/>
  <Override PartName="/ppt/fonts/font8.fntdata" ContentType="application/x-fontdata"/>
  <Override PartName="/ppt/fonts/font9.fntdata" ContentType="application/x-fontdata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1"/>
  </p:notesMasterIdLst>
  <p:sldIdLst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</p:sldIdLst>
  <p:sldSz cx="18288000" cy="10287000"/>
  <p:notesSz cx="6858000" cy="9144000"/>
  <p:embeddedFontLst>
    <p:embeddedFont>
      <p:font typeface="Calibri" panose="020F0502020204030204"/>
      <p:regular r:id="rId15"/>
    </p:embeddedFont>
    <p:embeddedFont>
      <p:font typeface="Roboto Light" panose="02000000000000000000"/>
      <p:regular r:id="rId16"/>
      <p:bold r:id="rId17"/>
      <p:italic r:id="rId18"/>
      <p:boldItalic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defaultTextStyle>
  <p:extLst>
    <p:ext uri="{EFAFB233-063F-42B5-8137-9DF3F51BA10A}">
      <p15:sldGuideLst xmlns:p15="http://schemas.microsoft.com/office/powerpoint/2012/main">
        <p15:guide id="1" orient="horz" pos="648" userDrawn="1">
          <p15:clr>
            <a:srgbClr val="000000"/>
          </p15:clr>
        </p15:guide>
        <p15:guide id="2" pos="586" userDrawn="1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81"/>
    <p:restoredTop sz="94684"/>
  </p:normalViewPr>
  <p:slideViewPr>
    <p:cSldViewPr snapToGrid="0" showGuides="1">
      <p:cViewPr varScale="1">
        <p:scale>
          <a:sx n="67" d="100"/>
          <a:sy n="67" d="100"/>
        </p:scale>
        <p:origin x="984" y="200"/>
      </p:cViewPr>
      <p:guideLst>
        <p:guide orient="horz" pos="648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4" Type="http://schemas.openxmlformats.org/officeDocument/2006/relationships/tags" Target="tags/tag17.xml"/><Relationship Id="rId23" Type="http://schemas.openxmlformats.org/officeDocument/2006/relationships/font" Target="fonts/font9.fntdata"/><Relationship Id="rId22" Type="http://schemas.openxmlformats.org/officeDocument/2006/relationships/font" Target="fonts/font8.fntdata"/><Relationship Id="rId21" Type="http://schemas.openxmlformats.org/officeDocument/2006/relationships/font" Target="fonts/font7.fntdata"/><Relationship Id="rId20" Type="http://schemas.openxmlformats.org/officeDocument/2006/relationships/font" Target="fonts/font6.fntdata"/><Relationship Id="rId2" Type="http://schemas.openxmlformats.org/officeDocument/2006/relationships/theme" Target="theme/theme1.xml"/><Relationship Id="rId19" Type="http://schemas.openxmlformats.org/officeDocument/2006/relationships/font" Target="fonts/font5.fntdata"/><Relationship Id="rId18" Type="http://schemas.openxmlformats.org/officeDocument/2006/relationships/font" Target="fonts/font4.fntdata"/><Relationship Id="rId17" Type="http://schemas.openxmlformats.org/officeDocument/2006/relationships/font" Target="fonts/font3.fntdata"/><Relationship Id="rId16" Type="http://schemas.openxmlformats.org/officeDocument/2006/relationships/font" Target="fonts/font2.fntdata"/><Relationship Id="rId15" Type="http://schemas.openxmlformats.org/officeDocument/2006/relationships/font" Target="fonts/font1.fntdata"/><Relationship Id="rId14" Type="http://schemas.openxmlformats.org/officeDocument/2006/relationships/tableStyles" Target="tableStyles.xml"/><Relationship Id="rId13" Type="http://schemas.openxmlformats.org/officeDocument/2006/relationships/viewProps" Target="viewProps.xml"/><Relationship Id="rId12" Type="http://schemas.openxmlformats.org/officeDocument/2006/relationships/presProps" Target="presProps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/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0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0.bin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2.bin"/><Relationship Id="rId2" Type="http://schemas.openxmlformats.org/officeDocument/2006/relationships/tags" Target="../tags/tag12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4.bin"/><Relationship Id="rId2" Type="http://schemas.openxmlformats.org/officeDocument/2006/relationships/tags" Target="../tags/tag14.xml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5.bin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6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7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8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9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 matchingName="FIRST_SLIDE_LAYOUT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  <p:sp>
        <p:nvSpPr>
          <p:cNvPr id="5" name="Google Shape;12;p2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Google Shape;13;p2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65912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None/>
              <a:defRPr sz="4800">
                <a:solidFill>
                  <a:schemeClr val="tx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○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■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●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○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■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●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○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■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 matchingName="HALF_WITH_IMAGE_RIGHT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/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 matchingName="HALF_WITH_IMAGE_RIGHT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/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  <a:endParaRPr lang="en-US" dirty="0"/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 matchingName="Z_FINAL_SLIDE">
  <p:cSld name="END_SLIDE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0" y="4423718"/>
            <a:ext cx="18288000" cy="586328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US" dirty="0"/>
              <a:t>10</a:t>
            </a:r>
            <a:endParaRPr lang="en-US" dirty="0"/>
          </a:p>
        </p:txBody>
      </p:sp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Изображение 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Google Shape;41;p7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49"/>
            <a:ext cx="13997562" cy="271046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43500"/>
            <a:ext cx="1463565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None/>
              <a:defRPr sz="4800">
                <a:solidFill>
                  <a:schemeClr val="tx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○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■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●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○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■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●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○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■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43" name="Google Shape;43;p7"/>
          <p:cNvSpPr>
            <a:spLocks noGrp="1"/>
          </p:cNvSpPr>
          <p:nvPr>
            <p:ph type="pic" idx="2" hasCustomPrompt="1"/>
          </p:nvPr>
        </p:nvSpPr>
        <p:spPr>
          <a:xfrm>
            <a:off x="15565050" y="1027450"/>
            <a:ext cx="180870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 matchingName="BASIC_LAYOUT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Изображение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  <a:endParaRPr lang="en-AU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8"/>
          </p:nvPr>
        </p:nvSpPr>
        <p:spPr>
          <a:xfrm>
            <a:off x="0" y="9966960"/>
            <a:ext cx="18288000" cy="32003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/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  <a:endParaRPr lang="en-AU" dirty="0"/>
          </a:p>
        </p:txBody>
      </p:sp>
      <p:sp>
        <p:nvSpPr>
          <p:cNvPr id="25" name="Google Shape;17;p3"/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  <a:endParaRPr lang="en-AU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 matchingName="BASIC_LAYOUT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  <a:endParaRPr lang="en-AU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/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  <a:endParaRPr lang="en-AU" dirty="0"/>
          </a:p>
        </p:txBody>
      </p:sp>
      <p:sp>
        <p:nvSpPr>
          <p:cNvPr id="25" name="Google Shape;17;p3"/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  <a:endParaRPr lang="en-AU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 matchingName="BASIC_LAYOUT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  <a:endParaRPr lang="en-AU" dirty="0"/>
          </a:p>
        </p:txBody>
      </p:sp>
      <p:sp>
        <p:nvSpPr>
          <p:cNvPr id="2" name="Google Shape;17;p3"/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  <a:endParaRPr lang="en-AU" dirty="0"/>
          </a:p>
        </p:txBody>
      </p:sp>
      <p:sp>
        <p:nvSpPr>
          <p:cNvPr id="12" name="Google Shape;17;p3"/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  <a:endParaRPr lang="en-AU" dirty="0"/>
          </a:p>
        </p:txBody>
      </p:sp>
      <p:sp>
        <p:nvSpPr>
          <p:cNvPr id="21" name="Google Shape;17;p3"/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  <a:endParaRPr lang="en-A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 matchingName="BASIC_LAYOUT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Изображение 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2277035"/>
            <a:ext cx="11320550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 matchingName="HALF_WITH_IMAGE_RIGHT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0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  <a:endParaRPr lang="en-A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0" y="0"/>
            <a:ext cx="18288000" cy="10293350"/>
          </a:xfrm>
          <a:solidFill>
            <a:schemeClr val="bg1">
              <a:lumMod val="75000"/>
              <a:alpha val="80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6119813" y="5869292"/>
            <a:ext cx="6093129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Google Shape;36;p6"/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  <a:endParaRPr lang="en-US"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 matchingName="FIRST_SLIDE_LAYOUT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  <p:sp>
        <p:nvSpPr>
          <p:cNvPr id="5" name="Google Shape;12;p2"/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 panose="02000000000000000000"/>
              <a:buNone/>
              <a:defRPr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Google Shape;13;p2"/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○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■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●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○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■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●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○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 panose="020F0502020204030204"/>
              <a:buChar char="■"/>
              <a:defRPr sz="48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Google Shape;14;p2"/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  <a:endParaRPr lang="en-US" dirty="0"/>
          </a:p>
        </p:txBody>
      </p:sp>
      <p:sp>
        <p:nvSpPr>
          <p:cNvPr id="2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 matchingName="BASIC_LAYOUT">
  <p:cSld name="BASIC_CONTENT_V1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Google Shape;35;p6"/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  <a:endParaRPr lang="en-AU" dirty="0"/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 matchingName="HALF_WITH_TEXT">
  <p:cSld name="HEADING_LEFT_CONTENT_RIGH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Изображение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4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rPr>
              <a:t>Smart Slides ChatGPT Plugin</a:t>
            </a:r>
            <a:endParaRPr>
              <a:latin typeface="Roboto Light" panose="02000000000000000000"/>
              <a:ea typeface="Roboto Light" panose="02000000000000000000"/>
              <a:cs typeface="Roboto Light" panose="02000000000000000000"/>
              <a:sym typeface="Roboto Light" panose="02000000000000000000"/>
            </a:endParaRPr>
          </a:p>
        </p:txBody>
      </p:sp>
      <p:sp>
        <p:nvSpPr>
          <p:cNvPr id="26" name="Google Shape;26;p4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  <a:endParaRPr lang="en-US" dirty="0"/>
          </a:p>
        </p:txBody>
      </p:sp>
      <p:sp>
        <p:nvSpPr>
          <p:cNvPr id="27" name="Google Shape;27;p4"/>
          <p:cNvSpPr txBox="1">
            <a:spLocks noGrp="1"/>
          </p:cNvSpPr>
          <p:nvPr>
            <p:ph type="body" idx="1" hasCustomPrompt="1"/>
          </p:nvPr>
        </p:nvSpPr>
        <p:spPr>
          <a:xfrm>
            <a:off x="9700325" y="2010750"/>
            <a:ext cx="5844300" cy="75912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US" dirty="0"/>
              <a:t>1</a:t>
            </a: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44000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  <a:endParaRPr lang="en-AU" dirty="0"/>
          </a:p>
        </p:txBody>
      </p:sp>
      <p:sp>
        <p:nvSpPr>
          <p:cNvPr id="7" name="Google Shape;24;p4"/>
          <p:cNvSpPr txBox="1">
            <a:spLocks noGrp="1"/>
          </p:cNvSpPr>
          <p:nvPr>
            <p:ph type="title" hasCustomPrompt="1"/>
          </p:nvPr>
        </p:nvSpPr>
        <p:spPr>
          <a:xfrm>
            <a:off x="942500" y="2010750"/>
            <a:ext cx="7119600" cy="17040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US" dirty="0"/>
              <a:t>0</a:t>
            </a:r>
            <a:endParaRPr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 matchingName="HALF_WITH_IMAGE_RIGHT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/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  <a:endParaRPr lang="en-US" dirty="0"/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 matchingName="HALF_WITH_IMAGE_RIGHT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Изображение 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4" name="Google Shape;36;p6"/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 matchingName="HALF_WITH_IMAGE_RIGHT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 panose="02000000000000000000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●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○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 panose="02000000000000000000"/>
              <a:buChar char="■"/>
              <a:defRPr sz="2400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/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vmlDrawing" Target="../drawings/vmlDrawing16.vml"/><Relationship Id="rId18" Type="http://schemas.openxmlformats.org/officeDocument/2006/relationships/image" Target="../media/image1.emf"/><Relationship Id="rId17" Type="http://schemas.openxmlformats.org/officeDocument/2006/relationships/oleObject" Target="../embeddings/oleObject16.bin"/><Relationship Id="rId16" Type="http://schemas.openxmlformats.org/officeDocument/2006/relationships/tags" Target="../tags/tag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7" imgW="5715" imgH="5715" progId="TCLayout.ActiveDocument.1">
                  <p:embed/>
                </p:oleObj>
              </mc:Choice>
              <mc:Fallback>
                <p:oleObj name="think-cell Slide" r:id="rId17" imgW="5715" imgH="5715" progId="TCLayout.ActiveDocument.1">
                  <p:embed/>
                  <p:pic>
                    <p:nvPicPr>
                      <p:cNvPr id="0" name="Изображение 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 panose="020F0502020204030204"/>
              <a:buNone/>
              <a:defRPr sz="480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 panose="020F0502020204030204"/>
              <a:buChar char="●"/>
              <a:defRPr sz="240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 panose="020F0502020204030204"/>
              <a:buChar char="○"/>
              <a:defRPr sz="240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 panose="020F0502020204030204"/>
              <a:buChar char="■"/>
              <a:defRPr sz="240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 panose="020F0502020204030204"/>
              <a:buChar char="●"/>
              <a:defRPr sz="240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 panose="020F0502020204030204"/>
              <a:buChar char="○"/>
              <a:defRPr sz="240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 panose="020F0502020204030204"/>
              <a:buChar char="■"/>
              <a:defRPr sz="240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 panose="020F0502020204030204"/>
              <a:buChar char="●"/>
              <a:defRPr sz="240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 panose="020F0502020204030204"/>
              <a:buChar char="○"/>
              <a:defRPr sz="240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 panose="020F0502020204030204"/>
              <a:buChar char="■"/>
              <a:defRPr sz="240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8" name="Google Shape;8;p1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 panose="02000000000000000000"/>
                <a:ea typeface="Roboto Light" panose="02000000000000000000"/>
                <a:cs typeface="Roboto Light" panose="02000000000000000000"/>
                <a:sym typeface="Roboto Light" panose="02000000000000000000"/>
              </a:rPr>
              <a:t>Smart Slides ChatGPT Plugin</a:t>
            </a:r>
            <a:endParaRPr>
              <a:latin typeface="Roboto Light" panose="02000000000000000000"/>
              <a:ea typeface="Roboto Light" panose="02000000000000000000"/>
              <a:cs typeface="Roboto Light" panose="02000000000000000000"/>
              <a:sym typeface="Roboto Light" panose="02000000000000000000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28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nci?utm_source=smart%20slides&amp;utm_medium=referral" TargetMode="External"/><Relationship Id="rId3" Type="http://schemas.openxmlformats.org/officeDocument/2006/relationships/hyperlink" Target="https://unsplash.com/photos/BYDjSiKUD0Y?utm_source=smart%20slides&amp;utm_medium=referral" TargetMode="External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11.xml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nci?utm_source=smart%20slides&amp;utm_medium=referral" TargetMode="External"/><Relationship Id="rId3" Type="http://schemas.openxmlformats.org/officeDocument/2006/relationships/hyperlink" Target="https://unsplash.com/photos/E3cUMNBcBCc?utm_source=smart%20slides&amp;utm_medium=referral" TargetMode="External"/><Relationship Id="rId2" Type="http://schemas.openxmlformats.org/officeDocument/2006/relationships/image" Target="../media/image2.png"/><Relationship Id="rId1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7.xml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nci?utm_source=smart%20slides&amp;utm_medium=referral" TargetMode="External"/><Relationship Id="rId3" Type="http://schemas.openxmlformats.org/officeDocument/2006/relationships/hyperlink" Target="https://unsplash.com/photos/UpKCxjVM8wU?utm_source=smart%20slides&amp;utm_medium=referral" TargetMode="External"/><Relationship Id="rId2" Type="http://schemas.openxmlformats.org/officeDocument/2006/relationships/image" Target="../media/image2.png"/><Relationship Id="rId1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34A853"/>
          </a:solidFill>
        </p:spPr>
        <p:txBody>
          <a:bodyPr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FFFFFF"/>
                </a:solidFill>
              </a:defRPr>
            </a:pPr>
            <a:r>
              <a:t>Презентация Проект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Первичный Анализ Требований и Планирование</a:t>
            </a:r>
          </a:p>
          <a:p>
            <a:r>
              <a:t>Проект: Умный Холодильник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34A853"/>
                </a:solidFill>
              </a:defRPr>
            </a:pPr>
            <a:r>
              <a:t>Введение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Цель: разработка системы умного холодильника</a:t>
            </a:r>
          </a:p>
          <a:p>
            <a:r>
              <a:t>Основная задача: автоматизация планирования меню и контроль продуктов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34A853"/>
                </a:solidFill>
              </a:defRPr>
            </a:pPr>
            <a:r>
              <a:t>Первичный Анализ Требований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Определение ключевых функций системы</a:t>
            </a:r>
          </a:p>
          <a:p>
            <a:r>
              <a:t>Анализ потребностей пользователей</a:t>
            </a:r>
          </a:p>
          <a:p>
            <a:r>
              <a:t>Оценка технических и функциональных требований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l="11" r="11"/>
          <a:stretch>
            <a:fillRect/>
          </a:stretch>
        </p:blipFill>
        <p:spPr/>
      </p:pic>
      <p:pic>
        <p:nvPicPr>
          <p:cNvPr id="5" name="Picture Placeholder 4" descr="BYDjSiKUD0Y.jpg"/>
          <p:cNvPicPr>
            <a:picLocks noGrp="1" noChangeAspect="1"/>
          </p:cNvPicPr>
          <p:nvPr>
            <p:ph type="pic" idx="10"/>
          </p:nvPr>
        </p:nvPicPr>
        <p:blipFill>
          <a:blip r:embed="rId2"/>
          <a:srcRect l="30483" r="30483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solidFill>
            <a:srgbClr val="34A853"/>
          </a:solidFill>
        </p:spPr>
        <p:txBody>
          <a:bodyPr/>
          <a:lstStyle/>
          <a:p/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>
                <a:hlinkClick r:id="rId3"/>
              </a:rPr>
              <a:t>Photo: black flat screen tv on black and gray tv rack</a:t>
            </a:r>
          </a:p>
          <a:p>
            <a:r>
              <a:rPr>
                <a:hlinkClick r:id="rId4"/>
              </a:rPr>
              <a:t>Photo by National Cancer Institute</a:t>
            </a:r>
          </a:p>
          <a:p>
            <a:r>
              <a:rPr>
                <a:hlinkClick r:id="rId5"/>
              </a:rPr>
              <a:t>Powered by Unsplash</a:t>
            </a:r>
            <a:endParaRPr>
              <a:hlinkClick r:id="rId5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l="11" r="11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Определение основных этапов разработки</a:t>
            </a:r>
          </a:p>
          <a:p>
            <a:r>
              <a:t>Распределение ресурсов и задач</a:t>
            </a:r>
          </a:p>
          <a:p>
            <a:r>
              <a:t>Установление временных рамок и контрольных точек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solidFill>
            <a:srgbClr val="34A853"/>
          </a:solidFill>
        </p:spPr>
        <p:txBody>
          <a:bodyPr/>
          <a:lstStyle/>
          <a:p/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FFFFFF"/>
                </a:solidFill>
              </a:defRPr>
            </a:pPr>
            <a:r>
              <a:t>Планирование Проекта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Picture Placeholder 1" descr="E3cUMNBcBCc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Описание структуры системы</a:t>
            </a:r>
          </a:p>
          <a:p>
            <a:r>
              <a:t>Выбор технологий и платформы</a:t>
            </a:r>
          </a:p>
          <a:p>
            <a:r>
              <a:t>Определение основных компонентов и их взаимодействия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34A853"/>
                </a:solidFill>
              </a:defRPr>
            </a:pPr>
            <a:r>
              <a:t>Архитектура Решения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>
                <a:hlinkClick r:id="rId3"/>
              </a:rPr>
              <a:t>Photo: a close up of a machine with buttons and buttons</a:t>
            </a:r>
          </a:p>
          <a:p>
            <a:r>
              <a:rPr>
                <a:hlinkClick r:id="rId4"/>
              </a:rPr>
              <a:t>Photo by National Cancer Institute</a:t>
            </a:r>
          </a:p>
          <a:p>
            <a:r>
              <a:rPr>
                <a:hlinkClick r:id="rId5"/>
              </a:rPr>
              <a:t>Powered by Unsplash</a:t>
            </a:r>
            <a:endParaRPr>
              <a:hlinkClick r:id="rId5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Picture Placeholder 1" descr="UpKCxjVM8wU.jp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l="5556" r="5556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Оценка потенциальных рисков проекта</a:t>
            </a:r>
          </a:p>
          <a:p>
            <a:r>
              <a:t>Стратегии минимизации и управления рисками</a:t>
            </a:r>
          </a:p>
          <a:p>
            <a:r>
              <a:t>Ожидаемые проблемы и пути их решения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34A853"/>
                </a:solidFill>
              </a:defRPr>
            </a:pPr>
            <a:r>
              <a:t>Риски и Вызовы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>
                <a:hlinkClick r:id="rId3"/>
              </a:rPr>
              <a:t>Photo: a picture of a green and purple object</a:t>
            </a:r>
          </a:p>
          <a:p>
            <a:r>
              <a:rPr>
                <a:hlinkClick r:id="rId4"/>
              </a:rPr>
              <a:t>Photo by National Cancer Institute</a:t>
            </a:r>
          </a:p>
          <a:p>
            <a:r>
              <a:rPr>
                <a:hlinkClick r:id="rId5"/>
              </a:rPr>
              <a:t>Powered by Unsplash</a:t>
            </a:r>
            <a:endParaRPr>
              <a:hlinkClick r:id="rId5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34A853"/>
                </a:solidFill>
              </a:defRPr>
            </a:pPr>
            <a:r>
              <a:t>Следующие Шаги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Детализация плана разработки</a:t>
            </a:r>
          </a:p>
          <a:p>
            <a:r>
              <a:t>Определение критериев успеха проекта</a:t>
            </a:r>
          </a:p>
          <a:p>
            <a:r>
              <a:t>Планирование фазы тестирования и внедрения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 t="3969" b="3969"/>
          <a:stretch>
            <a:fillRect/>
          </a:stretch>
        </p:blipFill>
        <p:spPr/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34A853"/>
          </a:solidFill>
        </p:spPr>
        <p:txBody>
          <a:bodyPr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34A853"/>
                </a:solidFill>
              </a:defRPr>
            </a:pPr>
            <a:r>
              <a:t>Заключение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Благодарим за внимание!</a:t>
            </a:r>
          </a:p>
          <a:p>
            <a:r>
              <a:t>Готовы к вопросам и обсуждению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2"/>
          </p:nvPr>
        </p:nvPicPr>
        <p:blipFill>
          <a:blip r:embed="rId1"/>
          <a:srcRect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UNDODONOTDELETE" val="0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32</Words>
  <Application>WPS Presentation</Application>
  <PresentationFormat>Custom</PresentationFormat>
  <Paragraphs>57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6</vt:i4>
      </vt:variant>
      <vt:variant>
        <vt:lpstr>幻灯片标题</vt:lpstr>
      </vt:variant>
      <vt:variant>
        <vt:i4>8</vt:i4>
      </vt:variant>
    </vt:vector>
  </HeadingPairs>
  <TitlesOfParts>
    <vt:vector size="34" baseType="lpstr">
      <vt:lpstr>Arial</vt:lpstr>
      <vt:lpstr>SimSun</vt:lpstr>
      <vt:lpstr>Wingdings</vt:lpstr>
      <vt:lpstr>Arial</vt:lpstr>
      <vt:lpstr>Calibri</vt:lpstr>
      <vt:lpstr>Roboto Light</vt:lpstr>
      <vt:lpstr>Calibri</vt:lpstr>
      <vt:lpstr>Microsoft YaHei</vt:lpstr>
      <vt:lpstr>Arial Unicode MS</vt:lpstr>
      <vt:lpstr>Smart Slides v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Презентация Проекта</vt:lpstr>
      <vt:lpstr>Введение</vt:lpstr>
      <vt:lpstr>Первичный Анализ Требований</vt:lpstr>
      <vt:lpstr>Планирование Проекта</vt:lpstr>
      <vt:lpstr>Архитектура Решения</vt:lpstr>
      <vt:lpstr>Риски и Вызовы</vt:lpstr>
      <vt:lpstr>Следующие Шаги</vt:lpstr>
      <vt:lpstr>Заключение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/>
  <cp:lastModifiedBy>pedro</cp:lastModifiedBy>
  <cp:revision>31</cp:revision>
  <dcterms:created xsi:type="dcterms:W3CDTF">2023-09-30T20:10:06Z</dcterms:created>
  <dcterms:modified xsi:type="dcterms:W3CDTF">2023-09-30T20:1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D51E29E1559D4751BFFAD986A263071C_12</vt:lpwstr>
  </property>
  <property fmtid="{D5CDD505-2E9C-101B-9397-08002B2CF9AE}" pid="3" name="KSOProductBuildVer">
    <vt:lpwstr>1049-12.2.0.13215</vt:lpwstr>
  </property>
</Properties>
</file>